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  <p:sldMasterId id="2147483676" r:id="rId6"/>
    <p:sldMasterId id="2147483684" r:id="rId7"/>
    <p:sldMasterId id="2147483692" r:id="rId8"/>
    <p:sldMasterId id="2147483700" r:id="rId9"/>
    <p:sldMasterId id="2147483708" r:id="rId10"/>
  </p:sldMasterIdLst>
  <p:notesMasterIdLst>
    <p:notesMasterId r:id="rId23"/>
  </p:notesMasterIdLst>
  <p:sldIdLst>
    <p:sldId id="259" r:id="rId11"/>
    <p:sldId id="308" r:id="rId12"/>
    <p:sldId id="311" r:id="rId13"/>
    <p:sldId id="299" r:id="rId14"/>
    <p:sldId id="298" r:id="rId15"/>
    <p:sldId id="316" r:id="rId16"/>
    <p:sldId id="300" r:id="rId17"/>
    <p:sldId id="319" r:id="rId18"/>
    <p:sldId id="320" r:id="rId19"/>
    <p:sldId id="318" r:id="rId20"/>
    <p:sldId id="305" r:id="rId21"/>
    <p:sldId id="317" r:id="rId22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anen.Dietz" initials="S" lastIdx="1" clrIdx="0">
    <p:extLst>
      <p:ext uri="{19B8F6BF-5375-455C-9EA6-DF929625EA0E}">
        <p15:presenceInfo xmlns:p15="http://schemas.microsoft.com/office/powerpoint/2012/main" userId="Shanen.Dietz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9C9B430-EE5D-4C3B-BED9-D23D5D6999D9}" v="3" dt="2021-02-09T18:57:20.6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623" autoAdjust="0"/>
    <p:restoredTop sz="94633" autoAdjust="0"/>
  </p:normalViewPr>
  <p:slideViewPr>
    <p:cSldViewPr>
      <p:cViewPr>
        <p:scale>
          <a:sx n="70" d="100"/>
          <a:sy n="70" d="100"/>
        </p:scale>
        <p:origin x="804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thews-Lay, Tiffany J:(BGE)" userId="57015e70-183c-4185-8a86-dfa614780fec" providerId="ADAL" clId="{C9C9B430-EE5D-4C3B-BED9-D23D5D6999D9}"/>
    <pc:docChg chg="undo custSel delSld modSld">
      <pc:chgData name="Matthews-Lay, Tiffany J:(BGE)" userId="57015e70-183c-4185-8a86-dfa614780fec" providerId="ADAL" clId="{C9C9B430-EE5D-4C3B-BED9-D23D5D6999D9}" dt="2021-02-09T19:20:26.885" v="29" actId="20577"/>
      <pc:docMkLst>
        <pc:docMk/>
      </pc:docMkLst>
      <pc:sldChg chg="del">
        <pc:chgData name="Matthews-Lay, Tiffany J:(BGE)" userId="57015e70-183c-4185-8a86-dfa614780fec" providerId="ADAL" clId="{C9C9B430-EE5D-4C3B-BED9-D23D5D6999D9}" dt="2021-02-09T17:25:55.083" v="0" actId="2696"/>
        <pc:sldMkLst>
          <pc:docMk/>
          <pc:sldMk cId="361367428" sldId="306"/>
        </pc:sldMkLst>
      </pc:sldChg>
      <pc:sldChg chg="modSp mod">
        <pc:chgData name="Matthews-Lay, Tiffany J:(BGE)" userId="57015e70-183c-4185-8a86-dfa614780fec" providerId="ADAL" clId="{C9C9B430-EE5D-4C3B-BED9-D23D5D6999D9}" dt="2021-02-09T19:20:26.885" v="29" actId="20577"/>
        <pc:sldMkLst>
          <pc:docMk/>
          <pc:sldMk cId="3614689929" sldId="308"/>
        </pc:sldMkLst>
        <pc:spChg chg="mod">
          <ac:chgData name="Matthews-Lay, Tiffany J:(BGE)" userId="57015e70-183c-4185-8a86-dfa614780fec" providerId="ADAL" clId="{C9C9B430-EE5D-4C3B-BED9-D23D5D6999D9}" dt="2021-02-09T19:20:26.885" v="29" actId="20577"/>
          <ac:spMkLst>
            <pc:docMk/>
            <pc:sldMk cId="3614689929" sldId="308"/>
            <ac:spMk id="8" creationId="{C25DA14D-903A-4DEF-95BE-E9B741C97EF5}"/>
          </ac:spMkLst>
        </pc:spChg>
      </pc:sldChg>
      <pc:sldChg chg="modSp mod">
        <pc:chgData name="Matthews-Lay, Tiffany J:(BGE)" userId="57015e70-183c-4185-8a86-dfa614780fec" providerId="ADAL" clId="{C9C9B430-EE5D-4C3B-BED9-D23D5D6999D9}" dt="2021-02-09T19:17:33.647" v="27" actId="403"/>
        <pc:sldMkLst>
          <pc:docMk/>
          <pc:sldMk cId="1745671126" sldId="317"/>
        </pc:sldMkLst>
        <pc:spChg chg="mod">
          <ac:chgData name="Matthews-Lay, Tiffany J:(BGE)" userId="57015e70-183c-4185-8a86-dfa614780fec" providerId="ADAL" clId="{C9C9B430-EE5D-4C3B-BED9-D23D5D6999D9}" dt="2021-02-09T18:57:39.784" v="25" actId="20577"/>
          <ac:spMkLst>
            <pc:docMk/>
            <pc:sldMk cId="1745671126" sldId="317"/>
            <ac:spMk id="2" creationId="{00000000-0000-0000-0000-000000000000}"/>
          </ac:spMkLst>
        </pc:spChg>
        <pc:spChg chg="mod">
          <ac:chgData name="Matthews-Lay, Tiffany J:(BGE)" userId="57015e70-183c-4185-8a86-dfa614780fec" providerId="ADAL" clId="{C9C9B430-EE5D-4C3B-BED9-D23D5D6999D9}" dt="2021-02-09T19:17:33.647" v="27" actId="403"/>
          <ac:spMkLst>
            <pc:docMk/>
            <pc:sldMk cId="1745671126" sldId="317"/>
            <ac:spMk id="6" creationId="{9025751D-CD34-4BBB-94EA-CE05F42C6B81}"/>
          </ac:spMkLst>
        </pc:spChg>
      </pc:sldChg>
      <pc:sldChg chg="modSp mod">
        <pc:chgData name="Matthews-Lay, Tiffany J:(BGE)" userId="57015e70-183c-4185-8a86-dfa614780fec" providerId="ADAL" clId="{C9C9B430-EE5D-4C3B-BED9-D23D5D6999D9}" dt="2021-02-09T17:51:02.658" v="2" actId="1076"/>
        <pc:sldMkLst>
          <pc:docMk/>
          <pc:sldMk cId="2445343606" sldId="319"/>
        </pc:sldMkLst>
        <pc:picChg chg="mod">
          <ac:chgData name="Matthews-Lay, Tiffany J:(BGE)" userId="57015e70-183c-4185-8a86-dfa614780fec" providerId="ADAL" clId="{C9C9B430-EE5D-4C3B-BED9-D23D5D6999D9}" dt="2021-02-09T17:51:02.658" v="2" actId="1076"/>
          <ac:picMkLst>
            <pc:docMk/>
            <pc:sldMk cId="2445343606" sldId="319"/>
            <ac:picMk id="4" creationId="{E09D4B75-8F31-4D1B-B202-72670A5C4DF0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7F40E0F-0C93-41E4-875F-BFD5EFC9286F}" type="datetimeFigureOut">
              <a:rPr lang="en-US" smtClean="0"/>
              <a:t>2/9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E8C0DF3-348D-4F56-9124-8B378E375C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16854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8C0DF3-348D-4F56-9124-8B378E375C3C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81403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8C0DF3-348D-4F56-9124-8B378E375C3C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9081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8C0DF3-348D-4F56-9124-8B378E375C3C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33944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8C0DF3-348D-4F56-9124-8B378E375C3C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41616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8C0DF3-348D-4F56-9124-8B378E375C3C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07608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Picture 3" descr="C:\Users\peter.eatroff\Desktop\aCoverNoImg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962" y="0"/>
            <a:ext cx="912372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3538" y="748138"/>
            <a:ext cx="7772400" cy="1470025"/>
          </a:xfrm>
        </p:spPr>
        <p:txBody>
          <a:bodyPr anchor="b" anchorCtr="0"/>
          <a:lstStyle>
            <a:lvl1pPr>
              <a:lnSpc>
                <a:spcPct val="9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3538" y="2217213"/>
            <a:ext cx="6400800" cy="448294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2" descr="C:\Documents and Settings\stroex\Local Settings\Temp\wz6f31\Logo\Color\Short Rule\BGEsr_color_RGB.jp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78613" y="6083772"/>
            <a:ext cx="2160587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935096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626165"/>
            <a:ext cx="9144000" cy="367748"/>
          </a:xfrm>
          <a:prstGeom prst="rect">
            <a:avLst/>
          </a:prstGeom>
          <a:solidFill>
            <a:srgbClr val="FFFFFF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6865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Image Title Slide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rner_image_lrg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4459" y="1823756"/>
            <a:ext cx="7957706" cy="506577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533" y="319088"/>
            <a:ext cx="2107096" cy="4572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63538" y="748138"/>
            <a:ext cx="7772400" cy="1470025"/>
          </a:xfrm>
        </p:spPr>
        <p:txBody>
          <a:bodyPr anchor="b" anchorCtr="0"/>
          <a:lstStyle>
            <a:lvl1pPr>
              <a:lnSpc>
                <a:spcPct val="9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363538" y="2217213"/>
            <a:ext cx="6400800" cy="448294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7576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2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/>
          <p:cNvCxnSpPr/>
          <p:nvPr/>
        </p:nvCxnSpPr>
        <p:spPr>
          <a:xfrm>
            <a:off x="363538" y="6602413"/>
            <a:ext cx="8412162" cy="0"/>
          </a:xfrm>
          <a:prstGeom prst="line">
            <a:avLst/>
          </a:prstGeom>
          <a:ln w="12700">
            <a:gradFill>
              <a:gsLst>
                <a:gs pos="6000">
                  <a:schemeClr val="bg2"/>
                </a:gs>
                <a:gs pos="41000">
                  <a:schemeClr val="bg2"/>
                </a:gs>
                <a:gs pos="85000">
                  <a:schemeClr val="bg2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363538" y="754063"/>
            <a:ext cx="841216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003300"/>
            <a:ext cx="8412162" cy="53990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38188" y="6615585"/>
            <a:ext cx="7099300" cy="2127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z="800" dirty="0">
                <a:solidFill>
                  <a:srgbClr val="595959"/>
                </a:solidFill>
              </a:rPr>
              <a:t>Confidential And Proprietary. For Exelon Internal Discussion Purposes Only.</a:t>
            </a:r>
          </a:p>
          <a:p>
            <a:pPr>
              <a:defRPr/>
            </a:pPr>
            <a:endParaRPr lang="en-US" dirty="0">
              <a:solidFill>
                <a:srgbClr val="595959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363538" y="6624638"/>
            <a:ext cx="342900" cy="212725"/>
          </a:xfrm>
          <a:prstGeom prst="rect">
            <a:avLst/>
          </a:prstGeom>
        </p:spPr>
        <p:txBody>
          <a:bodyPr/>
          <a:lstStyle>
            <a:lvl1pPr>
              <a:defRPr sz="800" smtClean="0"/>
            </a:lvl1pPr>
          </a:lstStyle>
          <a:p>
            <a:pPr>
              <a:defRPr/>
            </a:pPr>
            <a:fld id="{ACFA0854-43B0-4880-A749-9F6171372CE1}" type="slidenum">
              <a:rPr lang="en-US">
                <a:solidFill>
                  <a:srgbClr val="595959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5959"/>
              </a:solidFill>
            </a:endParaRPr>
          </a:p>
        </p:txBody>
      </p:sp>
      <p:pic>
        <p:nvPicPr>
          <p:cNvPr id="10" name="Picture 2" descr="C:\Documents and Settings\stroex\Local Settings\Temp\wz6f31\Logo\Color\Short Rule\BGEsr_color_RGB.jpg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58350" y="6467364"/>
            <a:ext cx="1104106" cy="352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209721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Picture 3" descr="C:\Users\peter.eatroff\Desktop\aCoverNoImg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962" y="0"/>
            <a:ext cx="912372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3538" y="748138"/>
            <a:ext cx="7772400" cy="1470025"/>
          </a:xfrm>
        </p:spPr>
        <p:txBody>
          <a:bodyPr anchor="b" anchorCtr="0"/>
          <a:lstStyle>
            <a:lvl1pPr>
              <a:lnSpc>
                <a:spcPct val="9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3538" y="2217213"/>
            <a:ext cx="6400800" cy="448294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2" descr="C:\Documents and Settings\stroex\Local Settings\Temp\wz6f31\Logo\Color\Short Rule\BGEsr_color_RGB.jp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78613" y="6083772"/>
            <a:ext cx="2160587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61188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63538" y="903514"/>
            <a:ext cx="8412162" cy="54083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3459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31923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26165"/>
            <a:ext cx="9144000" cy="367748"/>
          </a:xfrm>
          <a:prstGeom prst="rect">
            <a:avLst/>
          </a:prstGeom>
          <a:solidFill>
            <a:srgbClr val="FFFFFF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3538" y="1211263"/>
            <a:ext cx="8412162" cy="498784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slide divider</a:t>
            </a:r>
          </a:p>
        </p:txBody>
      </p:sp>
    </p:spTree>
    <p:extLst>
      <p:ext uri="{BB962C8B-B14F-4D97-AF65-F5344CB8AC3E}">
        <p14:creationId xmlns:p14="http://schemas.microsoft.com/office/powerpoint/2010/main" val="40801701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626165"/>
            <a:ext cx="9144000" cy="367748"/>
          </a:xfrm>
          <a:prstGeom prst="rect">
            <a:avLst/>
          </a:prstGeom>
          <a:solidFill>
            <a:srgbClr val="FFFFFF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1816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Image Title Slide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rner_image_lrg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4459" y="1823756"/>
            <a:ext cx="7957706" cy="506577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533" y="319088"/>
            <a:ext cx="2107096" cy="4572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63538" y="748138"/>
            <a:ext cx="7772400" cy="1470025"/>
          </a:xfrm>
        </p:spPr>
        <p:txBody>
          <a:bodyPr anchor="b" anchorCtr="0"/>
          <a:lstStyle>
            <a:lvl1pPr>
              <a:lnSpc>
                <a:spcPct val="9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363538" y="2217213"/>
            <a:ext cx="6400800" cy="448294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94719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Picture 3" descr="C:\Users\peter.eatroff\Desktop\aCoverNoImg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962" y="0"/>
            <a:ext cx="912372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3538" y="748138"/>
            <a:ext cx="7772400" cy="1470025"/>
          </a:xfrm>
        </p:spPr>
        <p:txBody>
          <a:bodyPr anchor="b" anchorCtr="0"/>
          <a:lstStyle>
            <a:lvl1pPr>
              <a:lnSpc>
                <a:spcPct val="9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3538" y="2217213"/>
            <a:ext cx="6400800" cy="448294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2" descr="C:\Documents and Settings\stroex\Local Settings\Temp\wz6f31\Logo\Color\Short Rule\BGEsr_color_RGB.jp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78613" y="6083772"/>
            <a:ext cx="2160587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11313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401464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63538" y="903514"/>
            <a:ext cx="8412162" cy="54083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9520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93251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26165"/>
            <a:ext cx="9144000" cy="367748"/>
          </a:xfrm>
          <a:prstGeom prst="rect">
            <a:avLst/>
          </a:prstGeom>
          <a:solidFill>
            <a:srgbClr val="FFFFFF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3538" y="1211263"/>
            <a:ext cx="8412162" cy="498784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slide divider</a:t>
            </a:r>
          </a:p>
        </p:txBody>
      </p:sp>
    </p:spTree>
    <p:extLst>
      <p:ext uri="{BB962C8B-B14F-4D97-AF65-F5344CB8AC3E}">
        <p14:creationId xmlns:p14="http://schemas.microsoft.com/office/powerpoint/2010/main" val="3920089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626165"/>
            <a:ext cx="9144000" cy="367748"/>
          </a:xfrm>
          <a:prstGeom prst="rect">
            <a:avLst/>
          </a:prstGeom>
          <a:solidFill>
            <a:srgbClr val="FFFFFF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35547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Image Title Slide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rner_image_lrg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4459" y="1823756"/>
            <a:ext cx="7957706" cy="506577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533" y="319088"/>
            <a:ext cx="2107096" cy="4572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63538" y="748138"/>
            <a:ext cx="7772400" cy="1470025"/>
          </a:xfrm>
        </p:spPr>
        <p:txBody>
          <a:bodyPr anchor="b" anchorCtr="0"/>
          <a:lstStyle>
            <a:lvl1pPr>
              <a:lnSpc>
                <a:spcPct val="9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363538" y="2217213"/>
            <a:ext cx="6400800" cy="448294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73693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Picture 3" descr="C:\Users\peter.eatroff\Desktop\aCoverNoImg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962" y="0"/>
            <a:ext cx="912372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3538" y="748138"/>
            <a:ext cx="7772400" cy="1470025"/>
          </a:xfrm>
        </p:spPr>
        <p:txBody>
          <a:bodyPr anchor="b" anchorCtr="0"/>
          <a:lstStyle>
            <a:lvl1pPr>
              <a:lnSpc>
                <a:spcPct val="9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3538" y="2217213"/>
            <a:ext cx="6400800" cy="448294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2" descr="C:\Documents and Settings\stroex\Local Settings\Temp\wz6f31\Logo\Color\Short Rule\BGEsr_color_RGB.jp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78613" y="6083772"/>
            <a:ext cx="2160587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08158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52644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26165"/>
            <a:ext cx="9144000" cy="367748"/>
          </a:xfrm>
          <a:prstGeom prst="rect">
            <a:avLst/>
          </a:prstGeom>
          <a:solidFill>
            <a:srgbClr val="FFFFFF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3538" y="1211263"/>
            <a:ext cx="8412162" cy="498784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slide divider</a:t>
            </a:r>
          </a:p>
        </p:txBody>
      </p:sp>
    </p:spTree>
    <p:extLst>
      <p:ext uri="{BB962C8B-B14F-4D97-AF65-F5344CB8AC3E}">
        <p14:creationId xmlns:p14="http://schemas.microsoft.com/office/powerpoint/2010/main" val="24991891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626165"/>
            <a:ext cx="9144000" cy="367748"/>
          </a:xfrm>
          <a:prstGeom prst="rect">
            <a:avLst/>
          </a:prstGeom>
          <a:solidFill>
            <a:srgbClr val="FFFFFF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02331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Image Title Slide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rner_image_lrg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4459" y="1823756"/>
            <a:ext cx="7957706" cy="506577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533" y="319088"/>
            <a:ext cx="2107096" cy="4572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63538" y="748138"/>
            <a:ext cx="7772400" cy="1470025"/>
          </a:xfrm>
        </p:spPr>
        <p:txBody>
          <a:bodyPr anchor="b" anchorCtr="0"/>
          <a:lstStyle>
            <a:lvl1pPr>
              <a:lnSpc>
                <a:spcPct val="9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363538" y="2217213"/>
            <a:ext cx="6400800" cy="448294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9909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26165"/>
            <a:ext cx="9144000" cy="367748"/>
          </a:xfrm>
          <a:prstGeom prst="rect">
            <a:avLst/>
          </a:prstGeom>
          <a:solidFill>
            <a:srgbClr val="FFFFFF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3538" y="1211263"/>
            <a:ext cx="8412162" cy="498784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slide divider</a:t>
            </a:r>
          </a:p>
        </p:txBody>
      </p:sp>
    </p:spTree>
    <p:extLst>
      <p:ext uri="{BB962C8B-B14F-4D97-AF65-F5344CB8AC3E}">
        <p14:creationId xmlns:p14="http://schemas.microsoft.com/office/powerpoint/2010/main" val="4164828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2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/>
          <p:cNvCxnSpPr/>
          <p:nvPr/>
        </p:nvCxnSpPr>
        <p:spPr>
          <a:xfrm>
            <a:off x="363538" y="6602413"/>
            <a:ext cx="8412162" cy="0"/>
          </a:xfrm>
          <a:prstGeom prst="line">
            <a:avLst/>
          </a:prstGeom>
          <a:ln w="12700">
            <a:gradFill>
              <a:gsLst>
                <a:gs pos="6000">
                  <a:schemeClr val="bg2"/>
                </a:gs>
                <a:gs pos="41000">
                  <a:schemeClr val="bg2"/>
                </a:gs>
                <a:gs pos="85000">
                  <a:schemeClr val="bg2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363538" y="754063"/>
            <a:ext cx="841216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003300"/>
            <a:ext cx="8412162" cy="53990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38188" y="6615585"/>
            <a:ext cx="7099300" cy="2127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z="800" dirty="0">
                <a:solidFill>
                  <a:srgbClr val="595959"/>
                </a:solidFill>
              </a:rPr>
              <a:t>Confidential And Proprietary. For Exelon Internal Discussion Purposes Only.</a:t>
            </a:r>
          </a:p>
          <a:p>
            <a:pPr>
              <a:defRPr/>
            </a:pPr>
            <a:endParaRPr lang="en-US" dirty="0">
              <a:solidFill>
                <a:srgbClr val="595959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363538" y="6624638"/>
            <a:ext cx="342900" cy="212725"/>
          </a:xfrm>
          <a:prstGeom prst="rect">
            <a:avLst/>
          </a:prstGeom>
        </p:spPr>
        <p:txBody>
          <a:bodyPr/>
          <a:lstStyle>
            <a:lvl1pPr>
              <a:defRPr sz="800" smtClean="0"/>
            </a:lvl1pPr>
          </a:lstStyle>
          <a:p>
            <a:pPr>
              <a:defRPr/>
            </a:pPr>
            <a:fld id="{ACFA0854-43B0-4880-A749-9F6171372CE1}" type="slidenum">
              <a:rPr lang="en-US">
                <a:solidFill>
                  <a:srgbClr val="595959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5959"/>
              </a:solidFill>
            </a:endParaRPr>
          </a:p>
        </p:txBody>
      </p:sp>
      <p:pic>
        <p:nvPicPr>
          <p:cNvPr id="10" name="Picture 2" descr="C:\Documents and Settings\stroex\Local Settings\Temp\wz6f31\Logo\Color\Short Rule\BGEsr_color_RGB.jpg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58350" y="6467364"/>
            <a:ext cx="1104106" cy="352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62425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Picture 3" descr="C:\Users\peter.eatroff\Desktop\aCoverNoImg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962" y="0"/>
            <a:ext cx="912372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3538" y="748138"/>
            <a:ext cx="7772400" cy="1470025"/>
          </a:xfrm>
        </p:spPr>
        <p:txBody>
          <a:bodyPr anchor="b" anchorCtr="0"/>
          <a:lstStyle>
            <a:lvl1pPr>
              <a:lnSpc>
                <a:spcPct val="9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3538" y="2217213"/>
            <a:ext cx="6400800" cy="448294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2" descr="C:\Documents and Settings\stroex\Local Settings\Temp\wz6f31\Logo\Color\Short Rule\BGEsr_color_RGB.jp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78613" y="6083772"/>
            <a:ext cx="2160587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70506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42587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26165"/>
            <a:ext cx="9144000" cy="367748"/>
          </a:xfrm>
          <a:prstGeom prst="rect">
            <a:avLst/>
          </a:prstGeom>
          <a:solidFill>
            <a:srgbClr val="FFFFFF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3538" y="1211263"/>
            <a:ext cx="8412162" cy="498784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slide divider</a:t>
            </a:r>
          </a:p>
        </p:txBody>
      </p:sp>
    </p:spTree>
    <p:extLst>
      <p:ext uri="{BB962C8B-B14F-4D97-AF65-F5344CB8AC3E}">
        <p14:creationId xmlns:p14="http://schemas.microsoft.com/office/powerpoint/2010/main" val="10248654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626165"/>
            <a:ext cx="9144000" cy="367748"/>
          </a:xfrm>
          <a:prstGeom prst="rect">
            <a:avLst/>
          </a:prstGeom>
          <a:solidFill>
            <a:srgbClr val="FFFFFF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3914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Image Title Slide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rner_image_lrg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4459" y="1823756"/>
            <a:ext cx="7957706" cy="506577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533" y="319088"/>
            <a:ext cx="2107096" cy="4572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63538" y="748138"/>
            <a:ext cx="7772400" cy="1470025"/>
          </a:xfrm>
        </p:spPr>
        <p:txBody>
          <a:bodyPr anchor="b" anchorCtr="0"/>
          <a:lstStyle>
            <a:lvl1pPr>
              <a:lnSpc>
                <a:spcPct val="9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363538" y="2217213"/>
            <a:ext cx="6400800" cy="448294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042938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2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/>
          <p:cNvCxnSpPr/>
          <p:nvPr/>
        </p:nvCxnSpPr>
        <p:spPr>
          <a:xfrm>
            <a:off x="363538" y="6602413"/>
            <a:ext cx="8412162" cy="0"/>
          </a:xfrm>
          <a:prstGeom prst="line">
            <a:avLst/>
          </a:prstGeom>
          <a:ln w="12700">
            <a:gradFill>
              <a:gsLst>
                <a:gs pos="6000">
                  <a:schemeClr val="bg2"/>
                </a:gs>
                <a:gs pos="41000">
                  <a:schemeClr val="bg2"/>
                </a:gs>
                <a:gs pos="85000">
                  <a:schemeClr val="bg2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363538" y="754063"/>
            <a:ext cx="841216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538" y="1003300"/>
            <a:ext cx="8412162" cy="53990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738188" y="6615585"/>
            <a:ext cx="7099300" cy="2127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z="800" dirty="0">
                <a:solidFill>
                  <a:srgbClr val="595959"/>
                </a:solidFill>
              </a:rPr>
              <a:t>Confidential And Proprietary. For Exelon Internal Discussion Purposes Only.</a:t>
            </a:r>
          </a:p>
          <a:p>
            <a:pPr>
              <a:defRPr/>
            </a:pPr>
            <a:endParaRPr lang="en-US" dirty="0">
              <a:solidFill>
                <a:srgbClr val="595959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363538" y="6624638"/>
            <a:ext cx="342900" cy="212725"/>
          </a:xfrm>
          <a:prstGeom prst="rect">
            <a:avLst/>
          </a:prstGeom>
        </p:spPr>
        <p:txBody>
          <a:bodyPr/>
          <a:lstStyle>
            <a:lvl1pPr>
              <a:defRPr sz="800" smtClean="0"/>
            </a:lvl1pPr>
          </a:lstStyle>
          <a:p>
            <a:pPr>
              <a:defRPr/>
            </a:pPr>
            <a:fld id="{ACFA0854-43B0-4880-A749-9F6171372CE1}" type="slidenum">
              <a:rPr lang="en-US">
                <a:solidFill>
                  <a:srgbClr val="595959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5959"/>
              </a:solidFill>
            </a:endParaRPr>
          </a:p>
        </p:txBody>
      </p:sp>
      <p:pic>
        <p:nvPicPr>
          <p:cNvPr id="10" name="Picture 2" descr="C:\Documents and Settings\stroex\Local Settings\Temp\wz6f31\Logo\Color\Short Rule\BGEsr_color_RGB.jpg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58350" y="6467364"/>
            <a:ext cx="1104106" cy="352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519624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Picture 3" descr="C:\Users\peter.eatroff\Desktop\aCoverNoImg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962" y="0"/>
            <a:ext cx="912372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3538" y="748138"/>
            <a:ext cx="7772400" cy="1470025"/>
          </a:xfrm>
        </p:spPr>
        <p:txBody>
          <a:bodyPr anchor="b" anchorCtr="0"/>
          <a:lstStyle>
            <a:lvl1pPr>
              <a:lnSpc>
                <a:spcPct val="9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3538" y="2217213"/>
            <a:ext cx="6400800" cy="448294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2" descr="C:\Documents and Settings\stroex\Local Settings\Temp\wz6f31\Logo\Color\Short Rule\BGEsr_color_RGB.jp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78613" y="6083772"/>
            <a:ext cx="2160587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295423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66202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26165"/>
            <a:ext cx="9144000" cy="367748"/>
          </a:xfrm>
          <a:prstGeom prst="rect">
            <a:avLst/>
          </a:prstGeom>
          <a:solidFill>
            <a:srgbClr val="FFFFFF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3538" y="1211263"/>
            <a:ext cx="8412162" cy="498784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slide divider</a:t>
            </a:r>
          </a:p>
        </p:txBody>
      </p:sp>
    </p:spTree>
    <p:extLst>
      <p:ext uri="{BB962C8B-B14F-4D97-AF65-F5344CB8AC3E}">
        <p14:creationId xmlns:p14="http://schemas.microsoft.com/office/powerpoint/2010/main" val="21617815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626165"/>
            <a:ext cx="9144000" cy="367748"/>
          </a:xfrm>
          <a:prstGeom prst="rect">
            <a:avLst/>
          </a:prstGeom>
          <a:solidFill>
            <a:srgbClr val="FFFFFF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8583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626165"/>
            <a:ext cx="9144000" cy="367748"/>
          </a:xfrm>
          <a:prstGeom prst="rect">
            <a:avLst/>
          </a:prstGeom>
          <a:solidFill>
            <a:srgbClr val="FFFFFF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10490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Image Title Slide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rner_image_lrg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4459" y="1823756"/>
            <a:ext cx="7957706" cy="506577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533" y="319088"/>
            <a:ext cx="2107096" cy="4572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63538" y="748138"/>
            <a:ext cx="7772400" cy="1470025"/>
          </a:xfrm>
        </p:spPr>
        <p:txBody>
          <a:bodyPr anchor="b" anchorCtr="0"/>
          <a:lstStyle>
            <a:lvl1pPr>
              <a:lnSpc>
                <a:spcPct val="9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363538" y="2217213"/>
            <a:ext cx="6400800" cy="448294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87458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Image Title Slide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rner_image_lrg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4459" y="1823756"/>
            <a:ext cx="7957706" cy="506577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533" y="319088"/>
            <a:ext cx="2107096" cy="4572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63538" y="748138"/>
            <a:ext cx="7772400" cy="1470025"/>
          </a:xfrm>
        </p:spPr>
        <p:txBody>
          <a:bodyPr anchor="b" anchorCtr="0"/>
          <a:lstStyle>
            <a:lvl1pPr>
              <a:lnSpc>
                <a:spcPct val="9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363538" y="2217213"/>
            <a:ext cx="6400800" cy="448294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1106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Picture 3" descr="C:\Users\peter.eatroff\Desktop\aCoverNoImg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962" y="0"/>
            <a:ext cx="912372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3538" y="748138"/>
            <a:ext cx="7772400" cy="1470025"/>
          </a:xfrm>
        </p:spPr>
        <p:txBody>
          <a:bodyPr anchor="b" anchorCtr="0"/>
          <a:lstStyle>
            <a:lvl1pPr>
              <a:lnSpc>
                <a:spcPct val="9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3538" y="2217213"/>
            <a:ext cx="6400800" cy="448294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2" descr="C:\Documents and Settings\stroex\Local Settings\Temp\wz6f31\Logo\Color\Short Rule\BGEsr_color_RGB.jp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78613" y="6083772"/>
            <a:ext cx="2160587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83055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63538" y="903514"/>
            <a:ext cx="8412162" cy="54083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4924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44855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26165"/>
            <a:ext cx="9144000" cy="367748"/>
          </a:xfrm>
          <a:prstGeom prst="rect">
            <a:avLst/>
          </a:prstGeom>
          <a:solidFill>
            <a:srgbClr val="FFFFFF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3538" y="1211263"/>
            <a:ext cx="8412162" cy="498784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slide divider</a:t>
            </a:r>
          </a:p>
        </p:txBody>
      </p:sp>
    </p:spTree>
    <p:extLst>
      <p:ext uri="{BB962C8B-B14F-4D97-AF65-F5344CB8AC3E}">
        <p14:creationId xmlns:p14="http://schemas.microsoft.com/office/powerpoint/2010/main" val="2529053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21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27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3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3538" y="0"/>
            <a:ext cx="8412162" cy="7286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3538" y="1016000"/>
            <a:ext cx="8412162" cy="53863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363538" y="753748"/>
            <a:ext cx="841216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368300" y="6553200"/>
            <a:ext cx="419100" cy="304800"/>
          </a:xfrm>
          <a:prstGeom prst="round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11028E9F-1F95-411A-A8C2-9AE7D14412DE}" type="slidenum">
              <a:rPr lang="en-US" sz="800">
                <a:solidFill>
                  <a:srgbClr val="2372B9"/>
                </a:solidFill>
              </a:rPr>
              <a:pPr/>
              <a:t>‹#›</a:t>
            </a:fld>
            <a:endParaRPr lang="en-US" sz="800" dirty="0">
              <a:solidFill>
                <a:srgbClr val="2372B9"/>
              </a:solidFill>
            </a:endParaRPr>
          </a:p>
        </p:txBody>
      </p:sp>
      <p:pic>
        <p:nvPicPr>
          <p:cNvPr id="8" name="Picture 2" descr="C:\Documents and Settings\stroex\Local Settings\Temp\wz6f31\Logo\Color\Short Rule\BGEsr_color_RGB.jpg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58350" y="6467364"/>
            <a:ext cx="1104106" cy="352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0737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  <p:sldLayoutId id="2147483665" r:id="rId4"/>
    <p:sldLayoutId id="2147483666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lnSpc>
          <a:spcPct val="95000"/>
        </a:lnSpc>
        <a:spcBef>
          <a:spcPts val="3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914400" rtl="0" eaLnBrk="1" latinLnBrk="0" hangingPunct="1">
        <a:lnSpc>
          <a:spcPct val="95000"/>
        </a:lnSpc>
        <a:spcBef>
          <a:spcPts val="200"/>
        </a:spcBef>
        <a:buFont typeface="Franklin Gothic Book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4350" indent="-171450" algn="l" defTabSz="914400" rtl="0" eaLnBrk="1" latinLnBrk="0" hangingPunct="1">
        <a:lnSpc>
          <a:spcPct val="95000"/>
        </a:lnSpc>
        <a:spcBef>
          <a:spcPts val="1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28650" indent="-114300" algn="l" defTabSz="914400" rtl="0" eaLnBrk="1" latinLnBrk="0" hangingPunct="1">
        <a:lnSpc>
          <a:spcPct val="95000"/>
        </a:lnSpc>
        <a:spcBef>
          <a:spcPts val="100"/>
        </a:spcBef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3538" y="0"/>
            <a:ext cx="8412162" cy="7286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3538" y="1016000"/>
            <a:ext cx="8412162" cy="53863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363538" y="753748"/>
            <a:ext cx="841216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368300" y="6553200"/>
            <a:ext cx="419100" cy="304800"/>
          </a:xfrm>
          <a:prstGeom prst="round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11028E9F-1F95-411A-A8C2-9AE7D14412DE}" type="slidenum">
              <a:rPr lang="en-US" sz="800">
                <a:solidFill>
                  <a:srgbClr val="2372B9"/>
                </a:solidFill>
              </a:rPr>
              <a:pPr/>
              <a:t>‹#›</a:t>
            </a:fld>
            <a:endParaRPr lang="en-US" sz="800" dirty="0">
              <a:solidFill>
                <a:srgbClr val="2372B9"/>
              </a:solidFill>
            </a:endParaRPr>
          </a:p>
        </p:txBody>
      </p:sp>
      <p:pic>
        <p:nvPicPr>
          <p:cNvPr id="8" name="Picture 2" descr="C:\Documents and Settings\stroex\Local Settings\Temp\wz6f31\Logo\Color\Short Rule\BGEsr_color_RGB.jpg"/>
          <p:cNvPicPr>
            <a:picLocks noChangeAspect="1" noChangeArrowheads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58350" y="6467364"/>
            <a:ext cx="1104106" cy="352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8253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lnSpc>
          <a:spcPct val="95000"/>
        </a:lnSpc>
        <a:spcBef>
          <a:spcPts val="3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914400" rtl="0" eaLnBrk="1" latinLnBrk="0" hangingPunct="1">
        <a:lnSpc>
          <a:spcPct val="95000"/>
        </a:lnSpc>
        <a:spcBef>
          <a:spcPts val="200"/>
        </a:spcBef>
        <a:buFont typeface="Franklin Gothic Book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4350" indent="-171450" algn="l" defTabSz="914400" rtl="0" eaLnBrk="1" latinLnBrk="0" hangingPunct="1">
        <a:lnSpc>
          <a:spcPct val="95000"/>
        </a:lnSpc>
        <a:spcBef>
          <a:spcPts val="1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28650" indent="-114300" algn="l" defTabSz="914400" rtl="0" eaLnBrk="1" latinLnBrk="0" hangingPunct="1">
        <a:lnSpc>
          <a:spcPct val="95000"/>
        </a:lnSpc>
        <a:spcBef>
          <a:spcPts val="100"/>
        </a:spcBef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3538" y="0"/>
            <a:ext cx="8412162" cy="7286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3538" y="1016000"/>
            <a:ext cx="8412162" cy="53863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363538" y="753748"/>
            <a:ext cx="841216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368300" y="6553200"/>
            <a:ext cx="419100" cy="304800"/>
          </a:xfrm>
          <a:prstGeom prst="round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11028E9F-1F95-411A-A8C2-9AE7D14412DE}" type="slidenum">
              <a:rPr lang="en-US" sz="800">
                <a:solidFill>
                  <a:srgbClr val="2372B9"/>
                </a:solidFill>
              </a:rPr>
              <a:pPr/>
              <a:t>‹#›</a:t>
            </a:fld>
            <a:endParaRPr lang="en-US" sz="800" dirty="0">
              <a:solidFill>
                <a:srgbClr val="2372B9"/>
              </a:solidFill>
            </a:endParaRPr>
          </a:p>
        </p:txBody>
      </p:sp>
      <p:pic>
        <p:nvPicPr>
          <p:cNvPr id="8" name="Picture 2" descr="C:\Documents and Settings\stroex\Local Settings\Temp\wz6f31\Logo\Color\Short Rule\BGEsr_color_RGB.jpg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58350" y="6467364"/>
            <a:ext cx="1104106" cy="352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5755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lnSpc>
          <a:spcPct val="95000"/>
        </a:lnSpc>
        <a:spcBef>
          <a:spcPts val="3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914400" rtl="0" eaLnBrk="1" latinLnBrk="0" hangingPunct="1">
        <a:lnSpc>
          <a:spcPct val="95000"/>
        </a:lnSpc>
        <a:spcBef>
          <a:spcPts val="200"/>
        </a:spcBef>
        <a:buFont typeface="Franklin Gothic Book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4350" indent="-171450" algn="l" defTabSz="914400" rtl="0" eaLnBrk="1" latinLnBrk="0" hangingPunct="1">
        <a:lnSpc>
          <a:spcPct val="95000"/>
        </a:lnSpc>
        <a:spcBef>
          <a:spcPts val="1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28650" indent="-114300" algn="l" defTabSz="914400" rtl="0" eaLnBrk="1" latinLnBrk="0" hangingPunct="1">
        <a:lnSpc>
          <a:spcPct val="95000"/>
        </a:lnSpc>
        <a:spcBef>
          <a:spcPts val="100"/>
        </a:spcBef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3538" y="0"/>
            <a:ext cx="8412162" cy="7286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3538" y="1016000"/>
            <a:ext cx="8412162" cy="53863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363538" y="753748"/>
            <a:ext cx="841216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368300" y="6553200"/>
            <a:ext cx="419100" cy="304800"/>
          </a:xfrm>
          <a:prstGeom prst="round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11028E9F-1F95-411A-A8C2-9AE7D14412DE}" type="slidenum">
              <a:rPr lang="en-US" sz="800">
                <a:solidFill>
                  <a:srgbClr val="2372B9"/>
                </a:solidFill>
              </a:rPr>
              <a:pPr/>
              <a:t>‹#›</a:t>
            </a:fld>
            <a:endParaRPr lang="en-US" sz="800" dirty="0">
              <a:solidFill>
                <a:srgbClr val="2372B9"/>
              </a:solidFill>
            </a:endParaRPr>
          </a:p>
        </p:txBody>
      </p:sp>
      <p:pic>
        <p:nvPicPr>
          <p:cNvPr id="8" name="Picture 2" descr="C:\Documents and Settings\stroex\Local Settings\Temp\wz6f31\Logo\Color\Short Rule\BGEsr_color_RGB.jpg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58350" y="6467364"/>
            <a:ext cx="1104106" cy="352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5045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lnSpc>
          <a:spcPct val="95000"/>
        </a:lnSpc>
        <a:spcBef>
          <a:spcPts val="3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914400" rtl="0" eaLnBrk="1" latinLnBrk="0" hangingPunct="1">
        <a:lnSpc>
          <a:spcPct val="95000"/>
        </a:lnSpc>
        <a:spcBef>
          <a:spcPts val="200"/>
        </a:spcBef>
        <a:buFont typeface="Franklin Gothic Book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4350" indent="-171450" algn="l" defTabSz="914400" rtl="0" eaLnBrk="1" latinLnBrk="0" hangingPunct="1">
        <a:lnSpc>
          <a:spcPct val="95000"/>
        </a:lnSpc>
        <a:spcBef>
          <a:spcPts val="1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28650" indent="-114300" algn="l" defTabSz="914400" rtl="0" eaLnBrk="1" latinLnBrk="0" hangingPunct="1">
        <a:lnSpc>
          <a:spcPct val="95000"/>
        </a:lnSpc>
        <a:spcBef>
          <a:spcPts val="100"/>
        </a:spcBef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3538" y="0"/>
            <a:ext cx="8412162" cy="7286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3538" y="1016000"/>
            <a:ext cx="8412162" cy="53863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363538" y="753748"/>
            <a:ext cx="841216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368300" y="6553200"/>
            <a:ext cx="419100" cy="304800"/>
          </a:xfrm>
          <a:prstGeom prst="round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11028E9F-1F95-411A-A8C2-9AE7D14412DE}" type="slidenum">
              <a:rPr lang="en-US" sz="800">
                <a:solidFill>
                  <a:srgbClr val="2372B9"/>
                </a:solidFill>
              </a:rPr>
              <a:pPr/>
              <a:t>‹#›</a:t>
            </a:fld>
            <a:endParaRPr lang="en-US" sz="800" dirty="0">
              <a:solidFill>
                <a:srgbClr val="2372B9"/>
              </a:solidFill>
            </a:endParaRPr>
          </a:p>
        </p:txBody>
      </p:sp>
      <p:pic>
        <p:nvPicPr>
          <p:cNvPr id="8" name="Picture 2" descr="C:\Documents and Settings\stroex\Local Settings\Temp\wz6f31\Logo\Color\Short Rule\BGEsr_color_RGB.jpg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58350" y="6467364"/>
            <a:ext cx="1104106" cy="352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437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5" r:id="rId2"/>
    <p:sldLayoutId id="2147483696" r:id="rId3"/>
    <p:sldLayoutId id="2147483697" r:id="rId4"/>
    <p:sldLayoutId id="2147483698" r:id="rId5"/>
    <p:sldLayoutId id="2147483699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lnSpc>
          <a:spcPct val="95000"/>
        </a:lnSpc>
        <a:spcBef>
          <a:spcPts val="3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914400" rtl="0" eaLnBrk="1" latinLnBrk="0" hangingPunct="1">
        <a:lnSpc>
          <a:spcPct val="95000"/>
        </a:lnSpc>
        <a:spcBef>
          <a:spcPts val="200"/>
        </a:spcBef>
        <a:buFont typeface="Franklin Gothic Book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4350" indent="-171450" algn="l" defTabSz="914400" rtl="0" eaLnBrk="1" latinLnBrk="0" hangingPunct="1">
        <a:lnSpc>
          <a:spcPct val="95000"/>
        </a:lnSpc>
        <a:spcBef>
          <a:spcPts val="1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28650" indent="-114300" algn="l" defTabSz="914400" rtl="0" eaLnBrk="1" latinLnBrk="0" hangingPunct="1">
        <a:lnSpc>
          <a:spcPct val="95000"/>
        </a:lnSpc>
        <a:spcBef>
          <a:spcPts val="100"/>
        </a:spcBef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3538" y="0"/>
            <a:ext cx="8412162" cy="7286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3538" y="1016000"/>
            <a:ext cx="8412162" cy="53863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363538" y="753748"/>
            <a:ext cx="841216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368300" y="6553200"/>
            <a:ext cx="419100" cy="304800"/>
          </a:xfrm>
          <a:prstGeom prst="round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11028E9F-1F95-411A-A8C2-9AE7D14412DE}" type="slidenum">
              <a:rPr lang="en-US" sz="800">
                <a:solidFill>
                  <a:srgbClr val="2372B9"/>
                </a:solidFill>
              </a:rPr>
              <a:pPr/>
              <a:t>‹#›</a:t>
            </a:fld>
            <a:endParaRPr lang="en-US" sz="800" dirty="0">
              <a:solidFill>
                <a:srgbClr val="2372B9"/>
              </a:solidFill>
            </a:endParaRPr>
          </a:p>
        </p:txBody>
      </p:sp>
      <p:pic>
        <p:nvPicPr>
          <p:cNvPr id="8" name="Picture 2" descr="C:\Documents and Settings\stroex\Local Settings\Temp\wz6f31\Logo\Color\Short Rule\BGEsr_color_RGB.jpg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58350" y="6467364"/>
            <a:ext cx="1104106" cy="352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0997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3" r:id="rId2"/>
    <p:sldLayoutId id="2147483704" r:id="rId3"/>
    <p:sldLayoutId id="2147483705" r:id="rId4"/>
    <p:sldLayoutId id="2147483706" r:id="rId5"/>
    <p:sldLayoutId id="214748370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lnSpc>
          <a:spcPct val="95000"/>
        </a:lnSpc>
        <a:spcBef>
          <a:spcPts val="3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914400" rtl="0" eaLnBrk="1" latinLnBrk="0" hangingPunct="1">
        <a:lnSpc>
          <a:spcPct val="95000"/>
        </a:lnSpc>
        <a:spcBef>
          <a:spcPts val="200"/>
        </a:spcBef>
        <a:buFont typeface="Franklin Gothic Book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4350" indent="-171450" algn="l" defTabSz="914400" rtl="0" eaLnBrk="1" latinLnBrk="0" hangingPunct="1">
        <a:lnSpc>
          <a:spcPct val="95000"/>
        </a:lnSpc>
        <a:spcBef>
          <a:spcPts val="1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28650" indent="-114300" algn="l" defTabSz="914400" rtl="0" eaLnBrk="1" latinLnBrk="0" hangingPunct="1">
        <a:lnSpc>
          <a:spcPct val="95000"/>
        </a:lnSpc>
        <a:spcBef>
          <a:spcPts val="100"/>
        </a:spcBef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3538" y="0"/>
            <a:ext cx="8412162" cy="72866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3538" y="1016000"/>
            <a:ext cx="8412162" cy="53863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363538" y="753748"/>
            <a:ext cx="841216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>
            <a:off x="368300" y="6553200"/>
            <a:ext cx="419100" cy="304800"/>
          </a:xfrm>
          <a:prstGeom prst="round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11028E9F-1F95-411A-A8C2-9AE7D14412DE}" type="slidenum">
              <a:rPr lang="en-US" sz="800">
                <a:solidFill>
                  <a:srgbClr val="2372B9"/>
                </a:solidFill>
              </a:rPr>
              <a:pPr/>
              <a:t>‹#›</a:t>
            </a:fld>
            <a:endParaRPr lang="en-US" sz="800" dirty="0">
              <a:solidFill>
                <a:srgbClr val="2372B9"/>
              </a:solidFill>
            </a:endParaRPr>
          </a:p>
        </p:txBody>
      </p:sp>
      <p:pic>
        <p:nvPicPr>
          <p:cNvPr id="8" name="Picture 2" descr="C:\Documents and Settings\stroex\Local Settings\Temp\wz6f31\Logo\Color\Short Rule\BGEsr_color_RGB.jpg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58350" y="6467364"/>
            <a:ext cx="1104106" cy="352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74359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1" r:id="rId2"/>
    <p:sldLayoutId id="2147483712" r:id="rId3"/>
    <p:sldLayoutId id="2147483713" r:id="rId4"/>
    <p:sldLayoutId id="214748371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lnSpc>
          <a:spcPct val="95000"/>
        </a:lnSpc>
        <a:spcBef>
          <a:spcPts val="3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indent="-171450" algn="l" defTabSz="914400" rtl="0" eaLnBrk="1" latinLnBrk="0" hangingPunct="1">
        <a:lnSpc>
          <a:spcPct val="95000"/>
        </a:lnSpc>
        <a:spcBef>
          <a:spcPts val="200"/>
        </a:spcBef>
        <a:buFont typeface="Franklin Gothic Book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14350" indent="-171450" algn="l" defTabSz="914400" rtl="0" eaLnBrk="1" latinLnBrk="0" hangingPunct="1">
        <a:lnSpc>
          <a:spcPct val="95000"/>
        </a:lnSpc>
        <a:spcBef>
          <a:spcPts val="1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28650" indent="-114300" algn="l" defTabSz="914400" rtl="0" eaLnBrk="1" latinLnBrk="0" hangingPunct="1">
        <a:lnSpc>
          <a:spcPct val="95000"/>
        </a:lnSpc>
        <a:spcBef>
          <a:spcPts val="100"/>
        </a:spcBef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6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363538" y="747713"/>
            <a:ext cx="7967662" cy="1470025"/>
          </a:xfrm>
        </p:spPr>
        <p:txBody>
          <a:bodyPr/>
          <a:lstStyle/>
          <a:p>
            <a:r>
              <a:rPr lang="en-US" sz="4800" dirty="0"/>
              <a:t>Bush River 115kV Crossing Rebuild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363538" y="2217738"/>
            <a:ext cx="4821237" cy="2435225"/>
          </a:xfrm>
        </p:spPr>
        <p:txBody>
          <a:bodyPr/>
          <a:lstStyle/>
          <a:p>
            <a:endParaRPr lang="en-US" dirty="0"/>
          </a:p>
          <a:p>
            <a:r>
              <a:rPr lang="en-US" sz="2400" b="1" dirty="0"/>
              <a:t>Tiffany Matthews-Lay</a:t>
            </a:r>
          </a:p>
          <a:p>
            <a:r>
              <a:rPr lang="en-US" sz="2400" b="1" dirty="0"/>
              <a:t>Project Management</a:t>
            </a:r>
          </a:p>
        </p:txBody>
      </p:sp>
      <p:sp>
        <p:nvSpPr>
          <p:cNvPr id="8" name="TextBox 3"/>
          <p:cNvSpPr txBox="1">
            <a:spLocks noChangeArrowheads="1"/>
          </p:cNvSpPr>
          <p:nvPr/>
        </p:nvSpPr>
        <p:spPr bwMode="auto">
          <a:xfrm>
            <a:off x="361950" y="3255963"/>
            <a:ext cx="3316288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5000"/>
              </a:lnSpc>
              <a:spcBef>
                <a:spcPts val="600"/>
              </a:spcBef>
            </a:pPr>
            <a:endParaRPr lang="en-US" sz="120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4444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vironmental Mitigation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025751D-CD34-4BBB-94EA-CE05F42C6B81}"/>
              </a:ext>
            </a:extLst>
          </p:cNvPr>
          <p:cNvSpPr txBox="1"/>
          <p:nvPr/>
        </p:nvSpPr>
        <p:spPr>
          <a:xfrm>
            <a:off x="356070" y="886196"/>
            <a:ext cx="8350250" cy="402570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dirty="0"/>
              <a:t>BGE is developing mitigation plans with </a:t>
            </a:r>
            <a:r>
              <a:rPr lang="en-US" dirty="0">
                <a:solidFill>
                  <a:srgbClr val="595959"/>
                </a:solidFill>
              </a:rPr>
              <a:t>Harford County and </a:t>
            </a:r>
            <a:r>
              <a:rPr lang="en-US" dirty="0"/>
              <a:t>the Maryland Department of Environment and Department of Natural Resources</a:t>
            </a:r>
            <a:r>
              <a:rPr lang="en-US" dirty="0">
                <a:solidFill>
                  <a:srgbClr val="595959"/>
                </a:solidFill>
              </a:rPr>
              <a:t> to address: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Restoring areas where existing structures are removed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Planting new trees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Restoring the Critical Area Buffer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Requiring contractor to use </a:t>
            </a:r>
            <a:r>
              <a:rPr lang="en-US" dirty="0"/>
              <a:t>Best Management Practices during construction activities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en-US" dirty="0"/>
              <a:t>Ensuring the construction schedule takes the wildlife impact into considerati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dirty="0">
              <a:solidFill>
                <a:srgbClr val="595959"/>
              </a:solidFill>
            </a:endParaRPr>
          </a:p>
          <a:p>
            <a:pPr marL="1085850" lvl="2" indent="-171450">
              <a:buFont typeface="Arial" panose="020B0604020202020204" pitchFamily="34" charset="0"/>
              <a:buChar char="•"/>
            </a:pPr>
            <a:endParaRPr lang="en-US" dirty="0">
              <a:solidFill>
                <a:srgbClr val="595959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>
              <a:solidFill>
                <a:srgbClr val="595959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7CE3CD2-CE8B-4E66-9729-8E186B6887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0197" y="3441032"/>
            <a:ext cx="3721995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61686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ndering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6040C4-5AB2-44EF-BAA2-6A66CCF1A4D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243" y="820642"/>
            <a:ext cx="6858752" cy="27426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524E997-79B3-4C87-A074-2D1539F5680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243" y="3655221"/>
            <a:ext cx="6858751" cy="2724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9114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Websit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025751D-CD34-4BBB-94EA-CE05F42C6B81}"/>
              </a:ext>
            </a:extLst>
          </p:cNvPr>
          <p:cNvSpPr txBox="1"/>
          <p:nvPr/>
        </p:nvSpPr>
        <p:spPr>
          <a:xfrm>
            <a:off x="356070" y="886196"/>
            <a:ext cx="8350250" cy="402570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pPr algn="ctr"/>
            <a:endParaRPr lang="en-US" dirty="0">
              <a:solidFill>
                <a:srgbClr val="595959"/>
              </a:solidFill>
            </a:endParaRPr>
          </a:p>
          <a:p>
            <a:pPr algn="ctr"/>
            <a:endParaRPr lang="en-US" dirty="0">
              <a:solidFill>
                <a:srgbClr val="595959"/>
              </a:solidFill>
            </a:endParaRPr>
          </a:p>
          <a:p>
            <a:pPr algn="ctr"/>
            <a:endParaRPr lang="en-US" dirty="0">
              <a:solidFill>
                <a:srgbClr val="595959"/>
              </a:solidFill>
            </a:endParaRPr>
          </a:p>
          <a:p>
            <a:pPr algn="ctr"/>
            <a:endParaRPr lang="en-US" dirty="0">
              <a:solidFill>
                <a:srgbClr val="595959"/>
              </a:solidFill>
            </a:endParaRPr>
          </a:p>
          <a:p>
            <a:pPr algn="ctr"/>
            <a:endParaRPr lang="en-US" dirty="0">
              <a:solidFill>
                <a:srgbClr val="595959"/>
              </a:solidFill>
            </a:endParaRPr>
          </a:p>
          <a:p>
            <a:pPr algn="ctr"/>
            <a:r>
              <a:rPr lang="en-US" sz="2400" dirty="0">
                <a:solidFill>
                  <a:srgbClr val="595959"/>
                </a:solidFill>
              </a:rPr>
              <a:t>https://www.bge-tsrep.com/projects/bush-river-crossing/</a:t>
            </a:r>
          </a:p>
          <a:p>
            <a:endParaRPr lang="en-US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56711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Bush River Project 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25DA14D-903A-4DEF-95BE-E9B741C97EF5}"/>
              </a:ext>
            </a:extLst>
          </p:cNvPr>
          <p:cNvSpPr txBox="1">
            <a:spLocks/>
          </p:cNvSpPr>
          <p:nvPr/>
        </p:nvSpPr>
        <p:spPr bwMode="auto">
          <a:xfrm>
            <a:off x="363537" y="814178"/>
            <a:ext cx="4206081" cy="3053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Rebuild the Bush River Crossing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Remove 7 existing “lattice” structur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Install 9 new mono-pole structures and foundation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One structure located in Bush River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New conductor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1.3 miles long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Additional easements required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Construction starts September 2021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In-Service Date: May 2022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dirty="0">
              <a:solidFill>
                <a:srgbClr val="595959"/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dirty="0">
              <a:solidFill>
                <a:srgbClr val="595959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00C075E-7914-4F13-B031-62C1F6946AF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7592" y="3890537"/>
            <a:ext cx="7924054" cy="2435085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3487854-E332-4739-85AA-A255C1D96C3E}"/>
              </a:ext>
            </a:extLst>
          </p:cNvPr>
          <p:cNvSpPr txBox="1">
            <a:spLocks/>
          </p:cNvSpPr>
          <p:nvPr/>
        </p:nvSpPr>
        <p:spPr bwMode="auto">
          <a:xfrm>
            <a:off x="3732640" y="6339774"/>
            <a:ext cx="1648629" cy="355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en-US" sz="1200" dirty="0">
                <a:solidFill>
                  <a:srgbClr val="595959"/>
                </a:solidFill>
              </a:rPr>
              <a:t>Bush River Crossing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C7FBB10-9E09-47A7-9D25-FC185D9AF93D}"/>
              </a:ext>
            </a:extLst>
          </p:cNvPr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1577" y="814178"/>
            <a:ext cx="3860069" cy="2838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6899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Necessity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A1A9840-B63C-43FB-A3B9-649F2535625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9469" y="3400970"/>
            <a:ext cx="4425931" cy="2923630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15C2BC1-499F-4B14-80FA-1CCD2FA474BD}"/>
              </a:ext>
            </a:extLst>
          </p:cNvPr>
          <p:cNvSpPr txBox="1">
            <a:spLocks/>
          </p:cNvSpPr>
          <p:nvPr/>
        </p:nvSpPr>
        <p:spPr bwMode="auto">
          <a:xfrm>
            <a:off x="359012" y="886195"/>
            <a:ext cx="8412162" cy="223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600" dirty="0"/>
              <a:t>BGE has the responsibility to maintain safety and the reliability of its electric system, achieved through routine inspection and maintenance of its existing transmission lines.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en-US" sz="1600" dirty="0"/>
              <a:t>Inspections identified the transmission line at the Bush River Crossing (Circuits 110620/110621) as a priority transmission circuit in the BGE system.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en-US" sz="1600" dirty="0"/>
              <a:t>Inspections identified seven (7) existing structures that require replacement.</a:t>
            </a:r>
            <a:endParaRPr lang="en-US" sz="1600" dirty="0">
              <a:solidFill>
                <a:srgbClr val="595959"/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595959"/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95959"/>
                </a:solidFill>
              </a:rPr>
              <a:t>Improve reliability and safety of the transmission line for communities and critical infrastructure.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95959"/>
                </a:solidFill>
              </a:rPr>
              <a:t>This line connects three substations, one of which serves 12,500 customers and one serves APG critical infrastructure directly.</a:t>
            </a:r>
          </a:p>
          <a:p>
            <a:endParaRPr lang="en-US" sz="1600" dirty="0">
              <a:solidFill>
                <a:srgbClr val="595959"/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dirty="0">
              <a:solidFill>
                <a:srgbClr val="595959"/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dirty="0">
              <a:solidFill>
                <a:srgbClr val="595959"/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dirty="0">
              <a:solidFill>
                <a:srgbClr val="595959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C705299-2B59-47E3-B255-5104AF62F349}"/>
              </a:ext>
            </a:extLst>
          </p:cNvPr>
          <p:cNvSpPr txBox="1"/>
          <p:nvPr/>
        </p:nvSpPr>
        <p:spPr>
          <a:xfrm>
            <a:off x="228600" y="3400970"/>
            <a:ext cx="410229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95959"/>
                </a:solidFill>
              </a:rPr>
              <a:t>The existing transmission line consists of two circuits constructed in 1951 and has experienced substantial reliability and risk issues.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95959"/>
                </a:solidFill>
              </a:rPr>
              <a:t>Severe avian contamination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95959"/>
                </a:solidFill>
              </a:rPr>
              <a:t>Severe foundation degradation was discovered after an inspection in 1991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95959"/>
                </a:solidFill>
              </a:rPr>
              <a:t>Mariner safety</a:t>
            </a:r>
          </a:p>
        </p:txBody>
      </p:sp>
    </p:spTree>
    <p:extLst>
      <p:ext uri="{BB962C8B-B14F-4D97-AF65-F5344CB8AC3E}">
        <p14:creationId xmlns:p14="http://schemas.microsoft.com/office/powerpoint/2010/main" val="29719412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uctural Reliability and Safet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6C25F61-A6B3-43C3-9F12-233DDEE4E1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3000" y="939336"/>
            <a:ext cx="3305150" cy="25075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A3BF686-8C65-4230-B7A6-DA79D2FDE71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3000" y="3657599"/>
            <a:ext cx="3296587" cy="22098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EDF063E-B66E-4FF6-AAEC-44E50C3CC213}"/>
              </a:ext>
            </a:extLst>
          </p:cNvPr>
          <p:cNvSpPr/>
          <p:nvPr/>
        </p:nvSpPr>
        <p:spPr>
          <a:xfrm>
            <a:off x="363538" y="939336"/>
            <a:ext cx="437733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  <a:sym typeface="Wingdings" pitchFamily="2" charset="2"/>
              </a:rPr>
              <a:t>In 1991, these tower foundations were inspected, and severe degradation was discovered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595959"/>
              </a:solidFill>
              <a:sym typeface="Wingdings" pitchFamily="2" charset="2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  <a:sym typeface="Wingdings" pitchFamily="2" charset="2"/>
              </a:rPr>
              <a:t>Although repairs were made in 1991, those repairs are now in year 30 of an expected 25-year life span.</a:t>
            </a:r>
            <a:endParaRPr lang="en-US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8466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ian Challeng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DB7EBE4-BC09-419A-9AB0-0584011C7C7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29201" y="886196"/>
            <a:ext cx="3581400" cy="2514600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939AA8C-DB83-419D-8774-D643D70C4EF6}"/>
              </a:ext>
            </a:extLst>
          </p:cNvPr>
          <p:cNvSpPr txBox="1">
            <a:spLocks/>
          </p:cNvSpPr>
          <p:nvPr/>
        </p:nvSpPr>
        <p:spPr bwMode="auto">
          <a:xfrm>
            <a:off x="359012" y="886196"/>
            <a:ext cx="4531630" cy="5438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9 outages (2009-2019) were line-initiated, all 9 occurred within the Bush River Crossing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8 outages were related to avian interference</a:t>
            </a: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7 outages involved bird nest debris</a:t>
            </a: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1 outage involved bird droppings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1 unknown outage</a:t>
            </a:r>
          </a:p>
          <a:p>
            <a:pPr marL="171450" indent="-171450" algn="just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Momentary outage on 5/10/2017 led to the discovery of a large colony of cormorants </a:t>
            </a:r>
          </a:p>
          <a:p>
            <a:pPr marL="628650" lvl="1" indent="-171450" algn="just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Numerous nests</a:t>
            </a:r>
          </a:p>
          <a:p>
            <a:pPr marL="628650" lvl="1" indent="-171450" algn="just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Significant contamination found on the insulators, conductors, tower steel, and foundations</a:t>
            </a:r>
          </a:p>
          <a:p>
            <a:pPr marL="628650" lvl="1" indent="-171450" algn="just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According to the USDA-APHIS, there are no totally effective ways to keep the cormorants from inhabiting the tow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595959"/>
              </a:solidFill>
            </a:endParaRPr>
          </a:p>
          <a:p>
            <a:pPr lvl="1"/>
            <a:endParaRPr lang="en-US" dirty="0">
              <a:solidFill>
                <a:srgbClr val="595959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CD27622C-B9BE-46CC-9477-FDA5B71791C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7" r="1984" b="1662"/>
          <a:stretch/>
        </p:blipFill>
        <p:spPr>
          <a:xfrm>
            <a:off x="6717937" y="3457205"/>
            <a:ext cx="1876425" cy="2800720"/>
          </a:xfrm>
          <a:prstGeom prst="rect">
            <a:avLst/>
          </a:prstGeom>
          <a:ln>
            <a:noFill/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2CA4DFE-5882-4B34-B65E-1E613C441A8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9201" y="3457205"/>
            <a:ext cx="1392809" cy="286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8035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ian Challenges (cont.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A1E749A-0441-4D00-97D1-836EA441D3B2}"/>
              </a:ext>
            </a:extLst>
          </p:cNvPr>
          <p:cNvSpPr txBox="1"/>
          <p:nvPr/>
        </p:nvSpPr>
        <p:spPr>
          <a:xfrm>
            <a:off x="277813" y="852488"/>
            <a:ext cx="3989387" cy="393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During the inspection, an active osprey nest was also found on tower 56 (Perryman side).</a:t>
            </a:r>
          </a:p>
          <a:p>
            <a:pPr marL="171450" indent="-171450" algn="just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Insulators were replaced and “guano shields” were installed, but due to the liquid state of the contaminant and the steady wind, the shields were not entirely effective.</a:t>
            </a:r>
          </a:p>
          <a:p>
            <a:pPr marL="171450" indent="-171450" algn="just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Coexisting with cormorants means accessing a severely “contaminated” tower, maneuvering around mildly aggressive birds, and maintaining insulators and conductors that will continue to become contaminated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B7DE3F1-33D7-4366-9201-C9C0EA313AF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5958" y="1161127"/>
            <a:ext cx="3364334" cy="224288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2FB775F-8748-4644-AC53-71F063004A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0550" y="3858965"/>
            <a:ext cx="4375150" cy="2346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5975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at Safet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E25BBEC-226D-4B52-866A-546B262F20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9619" y="990600"/>
            <a:ext cx="4600000" cy="3190476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264B4D5-930B-405B-A9DA-1613FD0A3319}"/>
              </a:ext>
            </a:extLst>
          </p:cNvPr>
          <p:cNvSpPr txBox="1">
            <a:spLocks/>
          </p:cNvSpPr>
          <p:nvPr/>
        </p:nvSpPr>
        <p:spPr bwMode="auto">
          <a:xfrm>
            <a:off x="1447800" y="4443013"/>
            <a:ext cx="6324600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The existing line has a low clearance over the Bush River.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The line has had a history of sailboat contacts, the most recent of which was in August 2000.</a:t>
            </a:r>
          </a:p>
        </p:txBody>
      </p:sp>
    </p:spTree>
    <p:extLst>
      <p:ext uri="{BB962C8B-B14F-4D97-AF65-F5344CB8AC3E}">
        <p14:creationId xmlns:p14="http://schemas.microsoft.com/office/powerpoint/2010/main" val="40261485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09D4B75-8F31-4D1B-B202-72670A5C4D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188" y="817422"/>
            <a:ext cx="7286861" cy="31389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Solution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25DA14D-903A-4DEF-95BE-E9B741C97EF5}"/>
              </a:ext>
            </a:extLst>
          </p:cNvPr>
          <p:cNvSpPr txBox="1">
            <a:spLocks/>
          </p:cNvSpPr>
          <p:nvPr/>
        </p:nvSpPr>
        <p:spPr bwMode="auto">
          <a:xfrm>
            <a:off x="363537" y="4025152"/>
            <a:ext cx="3751263" cy="2447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r>
              <a:rPr lang="en-US" b="1" dirty="0">
                <a:solidFill>
                  <a:srgbClr val="595959"/>
                </a:solidFill>
              </a:rPr>
              <a:t>Removal</a:t>
            </a:r>
          </a:p>
          <a:p>
            <a:pPr marL="120650" lvl="1" indent="-120650" algn="just"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595959"/>
                </a:solidFill>
              </a:rPr>
              <a:t>Three double circuit steel lattice towers (one on each shore and one located within Bush River)</a:t>
            </a:r>
          </a:p>
          <a:p>
            <a:pPr marL="120650" lvl="1" indent="-120650" algn="just"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595959"/>
                </a:solidFill>
              </a:rPr>
              <a:t>Four single circuit wood H-frames (two on each side of the river)</a:t>
            </a:r>
          </a:p>
          <a:p>
            <a:pPr marL="120650" lvl="1" indent="-120650" algn="just"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595959"/>
                </a:solidFill>
              </a:rPr>
              <a:t>Existing conductor (4 spans total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595959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595959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595959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595959"/>
              </a:solidFill>
              <a:sym typeface="Wingdings" pitchFamily="2" charset="2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1FAFBF8-8CA1-4365-90E0-5E784C7A1019}"/>
              </a:ext>
            </a:extLst>
          </p:cNvPr>
          <p:cNvSpPr txBox="1"/>
          <p:nvPr/>
        </p:nvSpPr>
        <p:spPr>
          <a:xfrm>
            <a:off x="1295400" y="1177877"/>
            <a:ext cx="304800" cy="26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5000"/>
              </a:lnSpc>
              <a:spcBef>
                <a:spcPts val="600"/>
              </a:spcBef>
            </a:pPr>
            <a:r>
              <a:rPr lang="en-US" sz="12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N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683DF3D-8665-4498-9942-81690033330A}"/>
              </a:ext>
            </a:extLst>
          </p:cNvPr>
          <p:cNvCxnSpPr>
            <a:cxnSpLocks/>
          </p:cNvCxnSpPr>
          <p:nvPr/>
        </p:nvCxnSpPr>
        <p:spPr>
          <a:xfrm flipV="1">
            <a:off x="1440516" y="1400818"/>
            <a:ext cx="0" cy="610978"/>
          </a:xfrm>
          <a:prstGeom prst="straightConnector1">
            <a:avLst/>
          </a:prstGeom>
          <a:ln w="12700">
            <a:solidFill>
              <a:schemeClr val="accent1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E837587-D383-4570-A3BB-A82C417F3EEB}"/>
              </a:ext>
            </a:extLst>
          </p:cNvPr>
          <p:cNvSpPr txBox="1">
            <a:spLocks/>
          </p:cNvSpPr>
          <p:nvPr/>
        </p:nvSpPr>
        <p:spPr bwMode="auto">
          <a:xfrm>
            <a:off x="5024438" y="4025152"/>
            <a:ext cx="3751263" cy="2447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r>
              <a:rPr lang="en-US" b="1" dirty="0">
                <a:solidFill>
                  <a:srgbClr val="595959"/>
                </a:solidFill>
              </a:rPr>
              <a:t>Install</a:t>
            </a:r>
          </a:p>
          <a:p>
            <a:pPr marL="225425" lvl="1" indent="-225425" algn="just"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595959"/>
                </a:solidFill>
              </a:rPr>
              <a:t>4 new single circuit structures at each bank</a:t>
            </a:r>
          </a:p>
          <a:p>
            <a:pPr marL="225425" lvl="1" indent="-225425" algn="just"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595959"/>
                </a:solidFill>
              </a:rPr>
              <a:t>1 double circuit structure at mid-span in Bush River on pile foundation</a:t>
            </a:r>
          </a:p>
          <a:p>
            <a:pPr marL="225425" lvl="1" indent="-225425" algn="just"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595959"/>
                </a:solidFill>
              </a:rPr>
              <a:t>New section will be built parallel to the existing line to minimize outage impacts</a:t>
            </a:r>
          </a:p>
          <a:p>
            <a:pPr marL="225425" lvl="1" indent="-225425" algn="just"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595959"/>
                </a:solidFill>
              </a:rPr>
              <a:t>Design clearance of 49.1 ft  (40 ft safe vessel height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595959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595959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595959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595959"/>
              </a:solidFill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4453436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Solution – Each Bank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FDA365D-31CC-4BCD-ABFF-B789CC1958B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3519" y="820950"/>
            <a:ext cx="6172200" cy="3203229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68E0168-71AD-4F88-A04D-49AB3EF1A0AC}"/>
              </a:ext>
            </a:extLst>
          </p:cNvPr>
          <p:cNvSpPr txBox="1">
            <a:spLocks/>
          </p:cNvSpPr>
          <p:nvPr/>
        </p:nvSpPr>
        <p:spPr bwMode="auto">
          <a:xfrm>
            <a:off x="5024438" y="4116467"/>
            <a:ext cx="3751262" cy="2447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r>
              <a:rPr lang="en-US" b="1" dirty="0">
                <a:solidFill>
                  <a:srgbClr val="595959"/>
                </a:solidFill>
              </a:rPr>
              <a:t>Install</a:t>
            </a:r>
          </a:p>
          <a:p>
            <a:pPr marL="225425" lvl="1" indent="-2254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4 new single circuit structures at each bank</a:t>
            </a:r>
          </a:p>
          <a:p>
            <a:pPr marL="225425" lvl="1" indent="-2254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New conductor (4 spans)</a:t>
            </a:r>
          </a:p>
          <a:p>
            <a:pPr marL="225425" lvl="1" indent="-2254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Caisson foundations on land</a:t>
            </a:r>
          </a:p>
          <a:p>
            <a:pPr marL="225425" lvl="1" indent="-2254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Pole caps will be used to deter birds from nesting on structur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595959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595959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595959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595959"/>
              </a:solidFill>
              <a:sym typeface="Wingdings" pitchFamily="2" charset="2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A1924FC-2FE8-4CD5-8ABB-EE797259FEB6}"/>
              </a:ext>
            </a:extLst>
          </p:cNvPr>
          <p:cNvSpPr txBox="1">
            <a:spLocks/>
          </p:cNvSpPr>
          <p:nvPr/>
        </p:nvSpPr>
        <p:spPr bwMode="auto">
          <a:xfrm>
            <a:off x="363538" y="4116467"/>
            <a:ext cx="3751262" cy="2447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r>
              <a:rPr lang="en-US" b="1" dirty="0">
                <a:solidFill>
                  <a:srgbClr val="595959"/>
                </a:solidFill>
              </a:rPr>
              <a:t>Removal</a:t>
            </a:r>
          </a:p>
          <a:p>
            <a:pPr marL="225425" lvl="1" indent="-225425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Three double circuit steel lattice towers (one on each shore and one located within Bush River)</a:t>
            </a:r>
          </a:p>
          <a:p>
            <a:pPr marL="225425" lvl="1" indent="-225425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Four single circuit wood H-frames (two on each side of the river)</a:t>
            </a:r>
          </a:p>
          <a:p>
            <a:pPr marL="225425" lvl="1" indent="-225425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95959"/>
                </a:solidFill>
              </a:rPr>
              <a:t>Existing conductor (4 spans total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595959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595959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595959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595959"/>
              </a:solidFill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0969739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xelon_basic">
  <a:themeElements>
    <a:clrScheme name="Custom 9">
      <a:dk1>
        <a:srgbClr val="595959"/>
      </a:dk1>
      <a:lt1>
        <a:sysClr val="window" lastClr="FFFFFF"/>
      </a:lt1>
      <a:dk2>
        <a:srgbClr val="000000"/>
      </a:dk2>
      <a:lt2>
        <a:srgbClr val="A1ADB5"/>
      </a:lt2>
      <a:accent1>
        <a:srgbClr val="008D48"/>
      </a:accent1>
      <a:accent2>
        <a:srgbClr val="B9C53A"/>
      </a:accent2>
      <a:accent3>
        <a:srgbClr val="2372B9"/>
      </a:accent3>
      <a:accent4>
        <a:srgbClr val="81CFE7"/>
      </a:accent4>
      <a:accent5>
        <a:srgbClr val="F15323"/>
      </a:accent5>
      <a:accent6>
        <a:srgbClr val="F99B2F"/>
      </a:accent6>
      <a:hlink>
        <a:srgbClr val="0000FF"/>
      </a:hlink>
      <a:folHlink>
        <a:srgbClr val="800080"/>
      </a:folHlink>
    </a:clrScheme>
    <a:fontScheme name="Exelon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5000"/>
          </a:lnSpc>
          <a:spcBef>
            <a:spcPts val="600"/>
          </a:spcBef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Exelon_basic">
  <a:themeElements>
    <a:clrScheme name="Custom 9">
      <a:dk1>
        <a:srgbClr val="595959"/>
      </a:dk1>
      <a:lt1>
        <a:sysClr val="window" lastClr="FFFFFF"/>
      </a:lt1>
      <a:dk2>
        <a:srgbClr val="000000"/>
      </a:dk2>
      <a:lt2>
        <a:srgbClr val="A1ADB5"/>
      </a:lt2>
      <a:accent1>
        <a:srgbClr val="008D48"/>
      </a:accent1>
      <a:accent2>
        <a:srgbClr val="B9C53A"/>
      </a:accent2>
      <a:accent3>
        <a:srgbClr val="2372B9"/>
      </a:accent3>
      <a:accent4>
        <a:srgbClr val="81CFE7"/>
      </a:accent4>
      <a:accent5>
        <a:srgbClr val="F15323"/>
      </a:accent5>
      <a:accent6>
        <a:srgbClr val="F99B2F"/>
      </a:accent6>
      <a:hlink>
        <a:srgbClr val="0000FF"/>
      </a:hlink>
      <a:folHlink>
        <a:srgbClr val="800080"/>
      </a:folHlink>
    </a:clrScheme>
    <a:fontScheme name="Exelon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5000"/>
          </a:lnSpc>
          <a:spcBef>
            <a:spcPts val="600"/>
          </a:spcBef>
          <a:defRPr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Exelon_basic">
  <a:themeElements>
    <a:clrScheme name="Custom 9">
      <a:dk1>
        <a:srgbClr val="595959"/>
      </a:dk1>
      <a:lt1>
        <a:sysClr val="window" lastClr="FFFFFF"/>
      </a:lt1>
      <a:dk2>
        <a:srgbClr val="000000"/>
      </a:dk2>
      <a:lt2>
        <a:srgbClr val="A1ADB5"/>
      </a:lt2>
      <a:accent1>
        <a:srgbClr val="008D48"/>
      </a:accent1>
      <a:accent2>
        <a:srgbClr val="B9C53A"/>
      </a:accent2>
      <a:accent3>
        <a:srgbClr val="2372B9"/>
      </a:accent3>
      <a:accent4>
        <a:srgbClr val="81CFE7"/>
      </a:accent4>
      <a:accent5>
        <a:srgbClr val="F15323"/>
      </a:accent5>
      <a:accent6>
        <a:srgbClr val="F99B2F"/>
      </a:accent6>
      <a:hlink>
        <a:srgbClr val="0000FF"/>
      </a:hlink>
      <a:folHlink>
        <a:srgbClr val="800080"/>
      </a:folHlink>
    </a:clrScheme>
    <a:fontScheme name="Exelon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5000"/>
          </a:lnSpc>
          <a:spcBef>
            <a:spcPts val="600"/>
          </a:spcBef>
          <a:defRPr sz="12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3_Exelon_basic">
  <a:themeElements>
    <a:clrScheme name="Custom 9">
      <a:dk1>
        <a:srgbClr val="595959"/>
      </a:dk1>
      <a:lt1>
        <a:sysClr val="window" lastClr="FFFFFF"/>
      </a:lt1>
      <a:dk2>
        <a:srgbClr val="000000"/>
      </a:dk2>
      <a:lt2>
        <a:srgbClr val="A1ADB5"/>
      </a:lt2>
      <a:accent1>
        <a:srgbClr val="008D48"/>
      </a:accent1>
      <a:accent2>
        <a:srgbClr val="B9C53A"/>
      </a:accent2>
      <a:accent3>
        <a:srgbClr val="2372B9"/>
      </a:accent3>
      <a:accent4>
        <a:srgbClr val="81CFE7"/>
      </a:accent4>
      <a:accent5>
        <a:srgbClr val="F15323"/>
      </a:accent5>
      <a:accent6>
        <a:srgbClr val="F99B2F"/>
      </a:accent6>
      <a:hlink>
        <a:srgbClr val="0000FF"/>
      </a:hlink>
      <a:folHlink>
        <a:srgbClr val="800080"/>
      </a:folHlink>
    </a:clrScheme>
    <a:fontScheme name="Exelon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5000"/>
          </a:lnSpc>
          <a:spcBef>
            <a:spcPts val="600"/>
          </a:spcBef>
          <a:defRPr sz="12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4_Exelon_basic">
  <a:themeElements>
    <a:clrScheme name="Custom 9">
      <a:dk1>
        <a:srgbClr val="595959"/>
      </a:dk1>
      <a:lt1>
        <a:sysClr val="window" lastClr="FFFFFF"/>
      </a:lt1>
      <a:dk2>
        <a:srgbClr val="000000"/>
      </a:dk2>
      <a:lt2>
        <a:srgbClr val="A1ADB5"/>
      </a:lt2>
      <a:accent1>
        <a:srgbClr val="008D48"/>
      </a:accent1>
      <a:accent2>
        <a:srgbClr val="B9C53A"/>
      </a:accent2>
      <a:accent3>
        <a:srgbClr val="2372B9"/>
      </a:accent3>
      <a:accent4>
        <a:srgbClr val="81CFE7"/>
      </a:accent4>
      <a:accent5>
        <a:srgbClr val="F15323"/>
      </a:accent5>
      <a:accent6>
        <a:srgbClr val="F99B2F"/>
      </a:accent6>
      <a:hlink>
        <a:srgbClr val="0000FF"/>
      </a:hlink>
      <a:folHlink>
        <a:srgbClr val="800080"/>
      </a:folHlink>
    </a:clrScheme>
    <a:fontScheme name="Exelon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5000"/>
          </a:lnSpc>
          <a:spcBef>
            <a:spcPts val="600"/>
          </a:spcBef>
          <a:defRPr sz="1200" dirty="0" err="1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5_Exelon_basic">
  <a:themeElements>
    <a:clrScheme name="Custom 9">
      <a:dk1>
        <a:srgbClr val="595959"/>
      </a:dk1>
      <a:lt1>
        <a:sysClr val="window" lastClr="FFFFFF"/>
      </a:lt1>
      <a:dk2>
        <a:srgbClr val="000000"/>
      </a:dk2>
      <a:lt2>
        <a:srgbClr val="A1ADB5"/>
      </a:lt2>
      <a:accent1>
        <a:srgbClr val="008D48"/>
      </a:accent1>
      <a:accent2>
        <a:srgbClr val="B9C53A"/>
      </a:accent2>
      <a:accent3>
        <a:srgbClr val="2372B9"/>
      </a:accent3>
      <a:accent4>
        <a:srgbClr val="81CFE7"/>
      </a:accent4>
      <a:accent5>
        <a:srgbClr val="F15323"/>
      </a:accent5>
      <a:accent6>
        <a:srgbClr val="F99B2F"/>
      </a:accent6>
      <a:hlink>
        <a:srgbClr val="0000FF"/>
      </a:hlink>
      <a:folHlink>
        <a:srgbClr val="800080"/>
      </a:folHlink>
    </a:clrScheme>
    <a:fontScheme name="Exelon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5000"/>
          </a:lnSpc>
          <a:spcBef>
            <a:spcPts val="600"/>
          </a:spcBef>
          <a:defRPr sz="1200"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6_Exelon_basic">
  <a:themeElements>
    <a:clrScheme name="Custom 9">
      <a:dk1>
        <a:srgbClr val="595959"/>
      </a:dk1>
      <a:lt1>
        <a:sysClr val="window" lastClr="FFFFFF"/>
      </a:lt1>
      <a:dk2>
        <a:srgbClr val="000000"/>
      </a:dk2>
      <a:lt2>
        <a:srgbClr val="A1ADB5"/>
      </a:lt2>
      <a:accent1>
        <a:srgbClr val="008D48"/>
      </a:accent1>
      <a:accent2>
        <a:srgbClr val="B9C53A"/>
      </a:accent2>
      <a:accent3>
        <a:srgbClr val="2372B9"/>
      </a:accent3>
      <a:accent4>
        <a:srgbClr val="81CFE7"/>
      </a:accent4>
      <a:accent5>
        <a:srgbClr val="F15323"/>
      </a:accent5>
      <a:accent6>
        <a:srgbClr val="F99B2F"/>
      </a:accent6>
      <a:hlink>
        <a:srgbClr val="0000FF"/>
      </a:hlink>
      <a:folHlink>
        <a:srgbClr val="800080"/>
      </a:folHlink>
    </a:clrScheme>
    <a:fontScheme name="Exelon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5000"/>
          </a:lnSpc>
          <a:spcBef>
            <a:spcPts val="600"/>
          </a:spcBef>
          <a:defRPr sz="1200"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BA850522A017E44B9C553C51DFD7BF7" ma:contentTypeVersion="11" ma:contentTypeDescription="Create a new document." ma:contentTypeScope="" ma:versionID="19de3bf004da97b778d46245d352e731">
  <xsd:schema xmlns:xsd="http://www.w3.org/2001/XMLSchema" xmlns:xs="http://www.w3.org/2001/XMLSchema" xmlns:p="http://schemas.microsoft.com/office/2006/metadata/properties" xmlns:ns2="6f35cf51-e196-409d-b3bb-255263c088a3" xmlns:ns3="fffd2eff-c0f8-40fc-9433-ec7423368311" targetNamespace="http://schemas.microsoft.com/office/2006/metadata/properties" ma:root="true" ma:fieldsID="e8389454c40a179a6ab8a12b38ba3da1" ns2:_="" ns3:_="">
    <xsd:import namespace="6f35cf51-e196-409d-b3bb-255263c088a3"/>
    <xsd:import namespace="fffd2eff-c0f8-40fc-9433-ec742336831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35cf51-e196-409d-b3bb-255263c088a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fd2eff-c0f8-40fc-9433-ec7423368311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044C912-B753-4A79-B4BC-2975188F755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f35cf51-e196-409d-b3bb-255263c088a3"/>
    <ds:schemaRef ds:uri="fffd2eff-c0f8-40fc-9433-ec742336831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0917F60-2591-468E-B14B-2DA05373D23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12309EC-A90C-4844-9B39-19A965D6D3F6}">
  <ds:schemaRefs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0e513f88-89ca-41a5-81f3-9e31390a4d23"/>
    <ds:schemaRef ds:uri="http://purl.org/dc/elements/1.1/"/>
    <ds:schemaRef ds:uri="http://schemas.microsoft.com/office/2006/metadata/propertie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114</TotalTime>
  <Words>684</Words>
  <Application>Microsoft Office PowerPoint</Application>
  <PresentationFormat>On-screen Show (4:3)</PresentationFormat>
  <Paragraphs>99</Paragraphs>
  <Slides>1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4" baseType="lpstr">
      <vt:lpstr>Arial</vt:lpstr>
      <vt:lpstr>Calibri</vt:lpstr>
      <vt:lpstr>Franklin Gothic Book</vt:lpstr>
      <vt:lpstr>Franklin Gothic Demi</vt:lpstr>
      <vt:lpstr>Exelon_basic</vt:lpstr>
      <vt:lpstr>1_Exelon_basic</vt:lpstr>
      <vt:lpstr>2_Exelon_basic</vt:lpstr>
      <vt:lpstr>3_Exelon_basic</vt:lpstr>
      <vt:lpstr>4_Exelon_basic</vt:lpstr>
      <vt:lpstr>5_Exelon_basic</vt:lpstr>
      <vt:lpstr>6_Exelon_basic</vt:lpstr>
      <vt:lpstr>think-cell Slide</vt:lpstr>
      <vt:lpstr>Bush River 115kV Crossing Rebuild</vt:lpstr>
      <vt:lpstr>Proposed Bush River Project </vt:lpstr>
      <vt:lpstr>Project Necessity </vt:lpstr>
      <vt:lpstr>Structural Reliability and Safety</vt:lpstr>
      <vt:lpstr>Avian Challenges</vt:lpstr>
      <vt:lpstr>Avian Challenges (cont.)</vt:lpstr>
      <vt:lpstr>Boat Safety</vt:lpstr>
      <vt:lpstr>Proposed Solution</vt:lpstr>
      <vt:lpstr>Proposed Solution – Each Bank</vt:lpstr>
      <vt:lpstr>Environmental Mitigation</vt:lpstr>
      <vt:lpstr>Renderings</vt:lpstr>
      <vt:lpstr>Project Website</vt:lpstr>
    </vt:vector>
  </TitlesOfParts>
  <Company>Exelon Cor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Approval Template</dc:title>
  <dc:creator>Czajkowski, Christopher H:(BGE)</dc:creator>
  <cp:lastModifiedBy>Matthews-Lay, Tiffany J:(BGE)</cp:lastModifiedBy>
  <cp:revision>219</cp:revision>
  <cp:lastPrinted>2019-09-19T13:38:47Z</cp:lastPrinted>
  <dcterms:created xsi:type="dcterms:W3CDTF">2017-01-20T21:49:18Z</dcterms:created>
  <dcterms:modified xsi:type="dcterms:W3CDTF">2021-02-09T19:2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BA850522A017E44B9C553C51DFD7BF7</vt:lpwstr>
  </property>
  <property fmtid="{D5CDD505-2E9C-101B-9397-08002B2CF9AE}" pid="3" name="Order">
    <vt:r8>174300</vt:r8>
  </property>
  <property fmtid="{D5CDD505-2E9C-101B-9397-08002B2CF9AE}" pid="4" name="eDOCS AutoSave">
    <vt:lpwstr/>
  </property>
</Properties>
</file>